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3B86"/>
    <a:srgbClr val="FFCC00"/>
    <a:srgbClr val="F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58" d="100"/>
          <a:sy n="58" d="100"/>
        </p:scale>
        <p:origin x="94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ebel, Pascal-MGB" userId="c97db4e0-a1b8-401d-9ce8-fcb77c5fc439" providerId="ADAL" clId="{3A5A3E06-E9A9-413A-9943-E9FBA06582AF}"/>
    <pc:docChg chg="undo modSld">
      <pc:chgData name="Strebel, Pascal-MGB" userId="c97db4e0-a1b8-401d-9ce8-fcb77c5fc439" providerId="ADAL" clId="{3A5A3E06-E9A9-413A-9943-E9FBA06582AF}" dt="2025-04-24T13:15:56.309" v="23" actId="1037"/>
      <pc:docMkLst>
        <pc:docMk/>
      </pc:docMkLst>
      <pc:sldChg chg="addSp modSp mod">
        <pc:chgData name="Strebel, Pascal-MGB" userId="c97db4e0-a1b8-401d-9ce8-fcb77c5fc439" providerId="ADAL" clId="{3A5A3E06-E9A9-413A-9943-E9FBA06582AF}" dt="2025-04-24T13:15:56.309" v="23" actId="1037"/>
        <pc:sldMkLst>
          <pc:docMk/>
          <pc:sldMk cId="1460688831" sldId="256"/>
        </pc:sldMkLst>
        <pc:spChg chg="add mod">
          <ac:chgData name="Strebel, Pascal-MGB" userId="c97db4e0-a1b8-401d-9ce8-fcb77c5fc439" providerId="ADAL" clId="{3A5A3E06-E9A9-413A-9943-E9FBA06582AF}" dt="2025-04-24T13:15:40.054" v="1" actId="1076"/>
          <ac:spMkLst>
            <pc:docMk/>
            <pc:sldMk cId="1460688831" sldId="256"/>
            <ac:spMk id="3" creationId="{813FF2B8-5C4B-CABA-5B96-C7290CA77AC0}"/>
          </ac:spMkLst>
        </pc:spChg>
        <pc:spChg chg="add mod">
          <ac:chgData name="Strebel, Pascal-MGB" userId="c97db4e0-a1b8-401d-9ce8-fcb77c5fc439" providerId="ADAL" clId="{3A5A3E06-E9A9-413A-9943-E9FBA06582AF}" dt="2025-04-24T13:15:56.309" v="23" actId="1037"/>
          <ac:spMkLst>
            <pc:docMk/>
            <pc:sldMk cId="1460688831" sldId="256"/>
            <ac:spMk id="5" creationId="{B124C13F-49B5-78E3-1A2C-063BB29600A5}"/>
          </ac:spMkLst>
        </pc:spChg>
        <pc:picChg chg="add mod">
          <ac:chgData name="Strebel, Pascal-MGB" userId="c97db4e0-a1b8-401d-9ce8-fcb77c5fc439" providerId="ADAL" clId="{3A5A3E06-E9A9-413A-9943-E9FBA06582AF}" dt="2025-04-24T13:15:40.054" v="1" actId="1076"/>
          <ac:picMkLst>
            <pc:docMk/>
            <pc:sldMk cId="1460688831" sldId="256"/>
            <ac:picMk id="2" creationId="{48652D02-8077-6527-729A-FD80AED23401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B9E8B-2F69-038A-DABE-952ADBECDD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08748E-D895-6B0F-E4B5-BB72F050D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1046DD-027C-F139-77CD-B049818DE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9D0885-8BC7-8DC6-CD59-B42C3CAFD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CC8602-D7E2-B008-A950-021BD585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174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9CCA4-CEDE-32BB-8C15-BB1DE611C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BBB3A4B-941D-69B8-AEB1-6D9B27F881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D66B5A-95DE-012D-CA0D-CC836926B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A97CBF-000B-5030-D186-CC19F0054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B74486-160A-4AEA-37FF-959A8D6A2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27411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462DFA0-0DC6-9E70-BC4F-0FBB6F4397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2F3E0D4-9F85-62C0-0965-EEC19E0386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4DA8ABC-EE13-DEC8-02CB-416397C16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AF4580B-1F61-0511-D137-FB9E34E8F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3AA765-B053-82C9-DE4C-7A25792D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4927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538539-BD75-6A07-085D-52AF568A5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691501-EAA1-ED99-B674-E6C7A77EA2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ECBE71-AF40-E805-C885-A6BFAD933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141227-A91E-6848-6BF0-593BDB314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6477B2-AB8C-BD5A-0C35-1A147BB7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8278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EFC071-B06E-CC56-BB0B-E7B1BDA43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98CEB2C-33EB-9124-0098-048704CC58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A72CC-50A1-304B-8E3D-D61848614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B30149-0223-A950-0F53-DD2C579ED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645A0F-AC01-8323-816B-0AD9667B7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6775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C04FB3-E750-776D-0CC8-A8E53CF48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767A9A-5E3C-F2B7-121B-D7119B9D04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D758C28-0813-6749-605E-C030C047A4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B5FDFA-20B1-CDAC-A35D-4FFA2BEDF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988D8B-235D-907C-AA05-D5EDE7A37E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A418DE-FCBC-C422-D895-FD00481F7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3110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58068F-7FB8-2A68-CE8B-A696F3C18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98BD8E-334F-4364-B898-3790E37BA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F3971-FBC7-5CE3-DE0D-99ACA1B7E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13F8E5C-ABC2-6DA7-06AE-C784096B65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6655FCA-2E16-DB10-E807-E5FBC9ED22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941C19D-55F4-FC50-908D-16C660953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234BD2C-3AAE-FFB3-509F-FD43C668C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B4F914-7FB0-C5B3-737D-74C340B43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0392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C2C42C-B624-C715-F028-B0D97D81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F15A14-7F33-D6F8-F9AC-BF0930C97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9AD9015-A813-9243-15EC-4F3DA1D6C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68E8B5-1CFD-2D8A-E623-576F09697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2510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31E07A8-7597-3E51-D6F4-4C1F9629C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1326D7-DB59-88EF-902E-C7541CE25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8AE8C4-BEA6-92FE-6006-9C8C386F7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92535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961299-238F-240E-98B1-DEEDFDF74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C4BFCE-8643-4D9C-7440-301270F1F4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2730CD-2544-0677-71A3-676FC8E0A0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AA2C413-ADD2-0B9D-99D1-5C2AA8E63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1CFC55-B6D1-DAAD-DE9D-2D21C25F6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8F0C54-5A6D-AEB3-9DB6-C896AD2A2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96511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8F21B1-686A-5C22-392A-7BB14874F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D08C8B7-CC37-1348-A621-D780FDCF8A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A0DABB-713E-BCC8-C8E4-40E38D35A6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2ACA33D-110A-7855-0275-C46280730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B4FC0A9-11DA-8A58-FC5A-93E29E5B9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BB05EFF-0D9B-6A09-E5E0-E7911CCDF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466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CC4BF6-D687-6CD9-6552-6059F5A7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3393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95" imgH="394" progId="TCLayout.ActiveDocument.1">
                  <p:embed/>
                </p:oleObj>
              </mc:Choice>
              <mc:Fallback>
                <p:oleObj name="think-cell Folie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C4BF6-D687-6CD9-6552-6059F5A74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4EA5337-A371-E145-995A-58CD45A4D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8DF928-49C1-2C83-5344-E596C280C7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430F31-FFE6-F050-A4A7-508A1BEF2F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AE12C6-CB3F-A61D-A20A-7C653C1D6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487FE5-BDCB-1647-EC69-0DAA8DE97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73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76A53D3-6684-557E-AEE7-D1152214AE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25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6A53D3-6684-557E-AEE7-D1152214A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A century of design on the move - SWI swissinfo.ch">
            <a:extLst>
              <a:ext uri="{FF2B5EF4-FFF2-40B4-BE49-F238E27FC236}">
                <a16:creationId xmlns:a16="http://schemas.microsoft.com/office/drawing/2014/main" id="{8F65D9AE-720C-33A9-47D4-35A624FA3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14" y="53495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93E4E2B-6A81-8816-9142-A25BC8AB4517}"/>
              </a:ext>
            </a:extLst>
          </p:cNvPr>
          <p:cNvSpPr/>
          <p:nvPr/>
        </p:nvSpPr>
        <p:spPr>
          <a:xfrm>
            <a:off x="1903564" y="534955"/>
            <a:ext cx="2160000" cy="720000"/>
          </a:xfrm>
          <a:prstGeom prst="round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945D87D-0F84-18C1-3607-2D994822B6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5914" y="270900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BB7227C-0D3B-7874-84BD-6051D62030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96871" y="640655"/>
            <a:ext cx="957363" cy="508599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61F7CB4-8AE1-102A-C7C7-9F071A458559}"/>
              </a:ext>
            </a:extLst>
          </p:cNvPr>
          <p:cNvSpPr/>
          <p:nvPr/>
        </p:nvSpPr>
        <p:spPr>
          <a:xfrm>
            <a:off x="1903564" y="2709000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9" name="Picture 2" descr="A century of design on the move - SWI swissinfo.ch">
            <a:extLst>
              <a:ext uri="{FF2B5EF4-FFF2-40B4-BE49-F238E27FC236}">
                <a16:creationId xmlns:a16="http://schemas.microsoft.com/office/drawing/2014/main" id="{A8241F04-BD6F-1ABD-9BE7-6BF686925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14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C8AEF96-3CB4-D68A-43B6-3E880250D0C1}"/>
              </a:ext>
            </a:extLst>
          </p:cNvPr>
          <p:cNvSpPr/>
          <p:nvPr/>
        </p:nvSpPr>
        <p:spPr>
          <a:xfrm>
            <a:off x="1903564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000FDF85-C74E-5662-7717-90281D952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3998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9835B4E2-5FB9-586E-7758-E89A6F0573F6}"/>
              </a:ext>
            </a:extLst>
          </p:cNvPr>
          <p:cNvSpPr/>
          <p:nvPr/>
        </p:nvSpPr>
        <p:spPr>
          <a:xfrm>
            <a:off x="1841648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68813B5-7C46-05AC-CA40-A1B1AAE84BAE}"/>
              </a:ext>
            </a:extLst>
          </p:cNvPr>
          <p:cNvSpPr txBox="1"/>
          <p:nvPr/>
        </p:nvSpPr>
        <p:spPr>
          <a:xfrm>
            <a:off x="3047541" y="42437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</a:p>
        </p:txBody>
      </p:sp>
      <p:pic>
        <p:nvPicPr>
          <p:cNvPr id="20" name="Picture 2" descr="A century of design on the move - SWI swissinfo.ch">
            <a:extLst>
              <a:ext uri="{FF2B5EF4-FFF2-40B4-BE49-F238E27FC236}">
                <a16:creationId xmlns:a16="http://schemas.microsoft.com/office/drawing/2014/main" id="{ED21E5E4-F5EE-F3C5-5CD6-9BED1202D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09" y="53495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29BAA374-378C-3D5B-678A-144129A9AAFC}"/>
              </a:ext>
            </a:extLst>
          </p:cNvPr>
          <p:cNvSpPr/>
          <p:nvPr/>
        </p:nvSpPr>
        <p:spPr>
          <a:xfrm>
            <a:off x="5449159" y="534955"/>
            <a:ext cx="2160000" cy="720000"/>
          </a:xfrm>
          <a:prstGeom prst="round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7F99D15-A01C-70CF-EC9B-374F1ECFE6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2466" y="640655"/>
            <a:ext cx="957363" cy="508599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09C12F1E-2FF0-7036-B195-17C0A4509B63}"/>
              </a:ext>
            </a:extLst>
          </p:cNvPr>
          <p:cNvSpPr txBox="1"/>
          <p:nvPr/>
        </p:nvSpPr>
        <p:spPr>
          <a:xfrm>
            <a:off x="6593136" y="42437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D5079F9-5501-B6E0-056D-09A3355419DC}"/>
              </a:ext>
            </a:extLst>
          </p:cNvPr>
          <p:cNvSpPr txBox="1"/>
          <p:nvPr/>
        </p:nvSpPr>
        <p:spPr>
          <a:xfrm>
            <a:off x="2276060" y="1516277"/>
            <a:ext cx="1415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12</a:t>
            </a:r>
          </a:p>
        </p:txBody>
      </p:sp>
      <p:pic>
        <p:nvPicPr>
          <p:cNvPr id="25" name="Picture 2" descr="A century of design on the move - SWI swissinfo.ch">
            <a:extLst>
              <a:ext uri="{FF2B5EF4-FFF2-40B4-BE49-F238E27FC236}">
                <a16:creationId xmlns:a16="http://schemas.microsoft.com/office/drawing/2014/main" id="{91D28FB9-5207-B720-BB1F-9408BE2BA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09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70058758-3B51-21DD-1A62-4DD8CDB0009C}"/>
              </a:ext>
            </a:extLst>
          </p:cNvPr>
          <p:cNvSpPr/>
          <p:nvPr/>
        </p:nvSpPr>
        <p:spPr>
          <a:xfrm>
            <a:off x="5449159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2A3F158-DFAE-47EF-B172-958720D3D9AE}"/>
              </a:ext>
            </a:extLst>
          </p:cNvPr>
          <p:cNvSpPr txBox="1"/>
          <p:nvPr/>
        </p:nvSpPr>
        <p:spPr>
          <a:xfrm>
            <a:off x="6077610" y="1516277"/>
            <a:ext cx="10310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6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AAF9A3A-73B0-AE99-BFBF-441EDB324B5F}"/>
              </a:ext>
            </a:extLst>
          </p:cNvPr>
          <p:cNvSpPr txBox="1"/>
          <p:nvPr/>
        </p:nvSpPr>
        <p:spPr>
          <a:xfrm>
            <a:off x="2314150" y="2607335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0</a:t>
            </a:r>
          </a:p>
        </p:txBody>
      </p:sp>
      <p:pic>
        <p:nvPicPr>
          <p:cNvPr id="29" name="Picture 4">
            <a:extLst>
              <a:ext uri="{FF2B5EF4-FFF2-40B4-BE49-F238E27FC236}">
                <a16:creationId xmlns:a16="http://schemas.microsoft.com/office/drawing/2014/main" id="{4FEBA409-1BF6-6A20-D7E5-F4AE08141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01509" y="270092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E6E61543-1C3B-CCEB-4FB3-1BD886B41243}"/>
              </a:ext>
            </a:extLst>
          </p:cNvPr>
          <p:cNvSpPr/>
          <p:nvPr/>
        </p:nvSpPr>
        <p:spPr>
          <a:xfrm>
            <a:off x="5449159" y="2700929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B6C3331-1C3A-5FE5-1A30-3ACA64CAC26D}"/>
              </a:ext>
            </a:extLst>
          </p:cNvPr>
          <p:cNvSpPr txBox="1"/>
          <p:nvPr/>
        </p:nvSpPr>
        <p:spPr>
          <a:xfrm>
            <a:off x="5859745" y="2599264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1</a:t>
            </a:r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201579EF-3C59-5DEE-2308-92A810327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5914" y="400150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3F6A980B-0A30-E1A3-7B22-069E853F9097}"/>
              </a:ext>
            </a:extLst>
          </p:cNvPr>
          <p:cNvSpPr/>
          <p:nvPr/>
        </p:nvSpPr>
        <p:spPr>
          <a:xfrm>
            <a:off x="1903564" y="4001507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30B93B9-053B-451B-46CC-9166F3FE8A95}"/>
              </a:ext>
            </a:extLst>
          </p:cNvPr>
          <p:cNvSpPr txBox="1"/>
          <p:nvPr/>
        </p:nvSpPr>
        <p:spPr>
          <a:xfrm>
            <a:off x="2314150" y="389984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2</a:t>
            </a:r>
          </a:p>
        </p:txBody>
      </p:sp>
      <p:pic>
        <p:nvPicPr>
          <p:cNvPr id="35" name="Picture 4">
            <a:extLst>
              <a:ext uri="{FF2B5EF4-FFF2-40B4-BE49-F238E27FC236}">
                <a16:creationId xmlns:a16="http://schemas.microsoft.com/office/drawing/2014/main" id="{7E754D54-C864-FCCB-C334-299D41A60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47395" y="270900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0B3AB7EF-1753-F831-42EA-650E47815D77}"/>
              </a:ext>
            </a:extLst>
          </p:cNvPr>
          <p:cNvSpPr/>
          <p:nvPr/>
        </p:nvSpPr>
        <p:spPr>
          <a:xfrm>
            <a:off x="8995045" y="2709000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A23BD0-ED70-678A-49A7-7DB7FD0341BE}"/>
              </a:ext>
            </a:extLst>
          </p:cNvPr>
          <p:cNvSpPr txBox="1"/>
          <p:nvPr/>
        </p:nvSpPr>
        <p:spPr>
          <a:xfrm>
            <a:off x="9405631" y="2607335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2</a:t>
            </a:r>
          </a:p>
        </p:txBody>
      </p:sp>
      <p:pic>
        <p:nvPicPr>
          <p:cNvPr id="38" name="Picture 4">
            <a:extLst>
              <a:ext uri="{FF2B5EF4-FFF2-40B4-BE49-F238E27FC236}">
                <a16:creationId xmlns:a16="http://schemas.microsoft.com/office/drawing/2014/main" id="{9BBD0BA5-680E-4D6A-0C39-E023670B5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39593" y="400150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177AEE74-67FF-B9F9-292D-6C22CBF6E91A}"/>
              </a:ext>
            </a:extLst>
          </p:cNvPr>
          <p:cNvSpPr/>
          <p:nvPr/>
        </p:nvSpPr>
        <p:spPr>
          <a:xfrm>
            <a:off x="5387243" y="4001507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6B9CB254-C479-1D43-5AAB-DA781116C31A}"/>
              </a:ext>
            </a:extLst>
          </p:cNvPr>
          <p:cNvSpPr txBox="1"/>
          <p:nvPr/>
        </p:nvSpPr>
        <p:spPr>
          <a:xfrm>
            <a:off x="5797829" y="389984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4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7E76E1F4-CEEC-34A2-24B1-7EDBCC9C8F8D}"/>
              </a:ext>
            </a:extLst>
          </p:cNvPr>
          <p:cNvSpPr txBox="1"/>
          <p:nvPr/>
        </p:nvSpPr>
        <p:spPr>
          <a:xfrm>
            <a:off x="2636954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pic>
        <p:nvPicPr>
          <p:cNvPr id="42" name="Picture 4">
            <a:extLst>
              <a:ext uri="{FF2B5EF4-FFF2-40B4-BE49-F238E27FC236}">
                <a16:creationId xmlns:a16="http://schemas.microsoft.com/office/drawing/2014/main" id="{D27583F5-35D7-FEDA-12C9-838431A49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39593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E6285313-18B4-0CA2-EE9D-5CF3F979CF84}"/>
              </a:ext>
            </a:extLst>
          </p:cNvPr>
          <p:cNvSpPr/>
          <p:nvPr/>
        </p:nvSpPr>
        <p:spPr>
          <a:xfrm>
            <a:off x="5387243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F9D243AF-5C97-6DD0-FEFF-58943F5A3F08}"/>
              </a:ext>
            </a:extLst>
          </p:cNvPr>
          <p:cNvSpPr txBox="1"/>
          <p:nvPr/>
        </p:nvSpPr>
        <p:spPr>
          <a:xfrm>
            <a:off x="6182549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2" name="Picture 2" descr="A century of design on the move - SWI swissinfo.ch">
            <a:extLst>
              <a:ext uri="{FF2B5EF4-FFF2-40B4-BE49-F238E27FC236}">
                <a16:creationId xmlns:a16="http://schemas.microsoft.com/office/drawing/2014/main" id="{48652D02-8077-6527-729A-FD80AED23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762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13FF2B8-5C4B-CABA-5B96-C7290CA77AC0}"/>
              </a:ext>
            </a:extLst>
          </p:cNvPr>
          <p:cNvSpPr/>
          <p:nvPr/>
        </p:nvSpPr>
        <p:spPr>
          <a:xfrm>
            <a:off x="8712412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124C13F-49B5-78E3-1A2C-063BB29600A5}"/>
              </a:ext>
            </a:extLst>
          </p:cNvPr>
          <p:cNvSpPr txBox="1"/>
          <p:nvPr/>
        </p:nvSpPr>
        <p:spPr>
          <a:xfrm>
            <a:off x="9065439" y="1516277"/>
            <a:ext cx="1415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19</a:t>
            </a:r>
          </a:p>
        </p:txBody>
      </p:sp>
    </p:spTree>
    <p:extLst>
      <p:ext uri="{BB962C8B-B14F-4D97-AF65-F5344CB8AC3E}">
        <p14:creationId xmlns:p14="http://schemas.microsoft.com/office/powerpoint/2010/main" val="1460688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4bad0d50-9cbb-471c-bae7-38b20ec0f1f9}" enabled="1" method="Standard" siteId="{35aa8c5b-ac0a-4b15-9788-ff6dfa22901f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</Words>
  <Application>Microsoft Office PowerPoint</Application>
  <PresentationFormat>Breitbild</PresentationFormat>
  <Paragraphs>1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rebel, Pascal-MGB</dc:creator>
  <cp:lastModifiedBy>Strebel, Pascal-MGB</cp:lastModifiedBy>
  <cp:revision>1</cp:revision>
  <dcterms:created xsi:type="dcterms:W3CDTF">2025-04-24T12:45:36Z</dcterms:created>
  <dcterms:modified xsi:type="dcterms:W3CDTF">2025-04-24T13:16:03Z</dcterms:modified>
</cp:coreProperties>
</file>